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8FF"/>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D62B39-EBFA-46FB-B1AE-67DD8F38B291}" v="2" dt="2023-05-08T12:44:55.6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4434" autoAdjust="0"/>
  </p:normalViewPr>
  <p:slideViewPr>
    <p:cSldViewPr snapToGrid="0" showGuides="1">
      <p:cViewPr varScale="1">
        <p:scale>
          <a:sx n="67" d="100"/>
          <a:sy n="67" d="100"/>
        </p:scale>
        <p:origin x="920" y="44"/>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47D62B39-EBFA-46FB-B1AE-67DD8F38B291}"/>
    <pc:docChg chg="undo redo custSel modSld">
      <pc:chgData name="Poyrekar, Nikita" userId="81b7bcf0-b252-48e8-8b8e-b08ae8900a92" providerId="ADAL" clId="{47D62B39-EBFA-46FB-B1AE-67DD8F38B291}" dt="2023-05-08T12:47:51.138" v="14"/>
      <pc:docMkLst>
        <pc:docMk/>
      </pc:docMkLst>
      <pc:sldChg chg="modSp mod">
        <pc:chgData name="Poyrekar, Nikita" userId="81b7bcf0-b252-48e8-8b8e-b08ae8900a92" providerId="ADAL" clId="{47D62B39-EBFA-46FB-B1AE-67DD8F38B291}" dt="2023-05-08T12:47:51.138" v="14"/>
        <pc:sldMkLst>
          <pc:docMk/>
          <pc:sldMk cId="2678710148" sldId="693"/>
        </pc:sldMkLst>
        <pc:spChg chg="mod">
          <ac:chgData name="Poyrekar, Nikita" userId="81b7bcf0-b252-48e8-8b8e-b08ae8900a92" providerId="ADAL" clId="{47D62B39-EBFA-46FB-B1AE-67DD8F38B291}" dt="2023-05-08T12:47:51.138" v="14"/>
          <ac:spMkLst>
            <pc:docMk/>
            <pc:sldMk cId="2678710148" sldId="693"/>
            <ac:spMk id="18" creationId="{00000000-0000-0000-0000-000000000000}"/>
          </ac:spMkLst>
        </pc:spChg>
      </pc:sldChg>
    </pc:docChg>
  </pc:docChgLst>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docChgLst>
    <pc:chgData name="Poyrekar, Nikita" userId="81b7bcf0-b252-48e8-8b8e-b08ae8900a92" providerId="ADAL" clId="{9AB38727-7C06-4753-A8D4-BA671F8A58F9}"/>
    <pc:docChg chg="custSel modSld">
      <pc:chgData name="Poyrekar, Nikita" userId="81b7bcf0-b252-48e8-8b8e-b08ae8900a92" providerId="ADAL" clId="{9AB38727-7C06-4753-A8D4-BA671F8A58F9}" dt="2023-03-20T08:32:40.158" v="39" actId="20577"/>
      <pc:docMkLst>
        <pc:docMk/>
      </pc:docMkLst>
      <pc:sldChg chg="modSp mod">
        <pc:chgData name="Poyrekar, Nikita" userId="81b7bcf0-b252-48e8-8b8e-b08ae8900a92" providerId="ADAL" clId="{9AB38727-7C06-4753-A8D4-BA671F8A58F9}" dt="2023-03-20T08:32:40.158" v="39" actId="20577"/>
        <pc:sldMkLst>
          <pc:docMk/>
          <pc:sldMk cId="2678710148" sldId="693"/>
        </pc:sldMkLst>
        <pc:spChg chg="mod">
          <ac:chgData name="Poyrekar, Nikita" userId="81b7bcf0-b252-48e8-8b8e-b08ae8900a92" providerId="ADAL" clId="{9AB38727-7C06-4753-A8D4-BA671F8A58F9}" dt="2023-03-20T08:32:40.158" v="39" actId="20577"/>
          <ac:spMkLst>
            <pc:docMk/>
            <pc:sldMk cId="2678710148" sldId="693"/>
            <ac:spMk id="16" creationId="{00000000-0000-0000-0000-000000000000}"/>
          </ac:spMkLst>
        </pc:spChg>
      </pc:sldChg>
    </pc:docChg>
  </pc:docChgLst>
  <pc:docChgLst>
    <pc:chgData name="Poyrekar, Nikita" userId="81b7bcf0-b252-48e8-8b8e-b08ae8900a92" providerId="ADAL" clId="{5FDCE233-393A-4EAF-87EB-9433227E047F}"/>
    <pc:docChg chg="modSld">
      <pc:chgData name="Poyrekar, Nikita" userId="81b7bcf0-b252-48e8-8b8e-b08ae8900a92" providerId="ADAL" clId="{5FDCE233-393A-4EAF-87EB-9433227E047F}" dt="2022-02-23T15:10:26.043" v="316" actId="20577"/>
      <pc:docMkLst>
        <pc:docMk/>
      </pc:docMkLst>
      <pc:sldChg chg="modSp mod">
        <pc:chgData name="Poyrekar, Nikita" userId="81b7bcf0-b252-48e8-8b8e-b08ae8900a92" providerId="ADAL" clId="{5FDCE233-393A-4EAF-87EB-9433227E047F}" dt="2022-02-23T15:10:26.043" v="316" actId="20577"/>
        <pc:sldMkLst>
          <pc:docMk/>
          <pc:sldMk cId="2678710148" sldId="693"/>
        </pc:sldMkLst>
        <pc:spChg chg="mod">
          <ac:chgData name="Poyrekar, Nikita" userId="81b7bcf0-b252-48e8-8b8e-b08ae8900a92" providerId="ADAL" clId="{5FDCE233-393A-4EAF-87EB-9433227E047F}" dt="2022-01-24T06:01:10.090" v="18" actId="20577"/>
          <ac:spMkLst>
            <pc:docMk/>
            <pc:sldMk cId="2678710148" sldId="693"/>
            <ac:spMk id="2" creationId="{00000000-0000-0000-0000-000000000000}"/>
          </ac:spMkLst>
        </pc:spChg>
        <pc:spChg chg="mod">
          <ac:chgData name="Poyrekar, Nikita" userId="81b7bcf0-b252-48e8-8b8e-b08ae8900a92" providerId="ADAL" clId="{5FDCE233-393A-4EAF-87EB-9433227E047F}" dt="2022-02-23T15:10:26.043" v="316" actId="20577"/>
          <ac:spMkLst>
            <pc:docMk/>
            <pc:sldMk cId="2678710148" sldId="693"/>
            <ac:spMk id="16" creationId="{00000000-0000-0000-0000-000000000000}"/>
          </ac:spMkLst>
        </pc:spChg>
        <pc:spChg chg="mod">
          <ac:chgData name="Poyrekar, Nikita" userId="81b7bcf0-b252-48e8-8b8e-b08ae8900a92" providerId="ADAL" clId="{5FDCE233-393A-4EAF-87EB-9433227E047F}" dt="2022-01-24T06:05:53.315" v="287" actId="1036"/>
          <ac:spMkLst>
            <pc:docMk/>
            <pc:sldMk cId="2678710148" sldId="693"/>
            <ac:spMk id="17" creationId="{00000000-0000-0000-0000-000000000000}"/>
          </ac:spMkLst>
        </pc:spChg>
        <pc:spChg chg="mod">
          <ac:chgData name="Poyrekar, Nikita" userId="81b7bcf0-b252-48e8-8b8e-b08ae8900a92" providerId="ADAL" clId="{5FDCE233-393A-4EAF-87EB-9433227E047F}" dt="2022-01-24T06:05:50.571" v="282" actId="1036"/>
          <ac:spMkLst>
            <pc:docMk/>
            <pc:sldMk cId="2678710148" sldId="693"/>
            <ac:spMk id="18" creationId="{00000000-0000-0000-0000-000000000000}"/>
          </ac:spMkLst>
        </pc:spChg>
        <pc:spChg chg="mod">
          <ac:chgData name="Poyrekar, Nikita" userId="81b7bcf0-b252-48e8-8b8e-b08ae8900a92" providerId="ADAL" clId="{5FDCE233-393A-4EAF-87EB-9433227E047F}" dt="2022-01-24T06:06:04.074" v="301" actId="1036"/>
          <ac:spMkLst>
            <pc:docMk/>
            <pc:sldMk cId="2678710148" sldId="693"/>
            <ac:spMk id="21" creationId="{00000000-0000-0000-0000-000000000000}"/>
          </ac:spMkLst>
        </pc:spChg>
      </pc:sldChg>
    </pc:docChg>
  </pc:docChgLst>
  <pc:docChgLst>
    <pc:chgData name="Poyrekar, Nikita" userId="81b7bcf0-b252-48e8-8b8e-b08ae8900a92" providerId="ADAL" clId="{CA4905BA-685C-485B-86B6-157A08AF9634}"/>
    <pc:docChg chg="undo custSel modSld">
      <pc:chgData name="Poyrekar, Nikita" userId="81b7bcf0-b252-48e8-8b8e-b08ae8900a92" providerId="ADAL" clId="{CA4905BA-685C-485B-86B6-157A08AF9634}" dt="2023-04-18T07:10:44.884" v="75" actId="1076"/>
      <pc:docMkLst>
        <pc:docMk/>
      </pc:docMkLst>
      <pc:sldChg chg="addSp delSp modSp mod">
        <pc:chgData name="Poyrekar, Nikita" userId="81b7bcf0-b252-48e8-8b8e-b08ae8900a92" providerId="ADAL" clId="{CA4905BA-685C-485B-86B6-157A08AF9634}" dt="2023-04-18T07:10:44.884" v="75" actId="1076"/>
        <pc:sldMkLst>
          <pc:docMk/>
          <pc:sldMk cId="2678710148" sldId="693"/>
        </pc:sldMkLst>
        <pc:spChg chg="add del mod">
          <ac:chgData name="Poyrekar, Nikita" userId="81b7bcf0-b252-48e8-8b8e-b08ae8900a92" providerId="ADAL" clId="{CA4905BA-685C-485B-86B6-157A08AF9634}" dt="2023-04-18T07:08:18.108" v="2"/>
          <ac:spMkLst>
            <pc:docMk/>
            <pc:sldMk cId="2678710148" sldId="693"/>
            <ac:spMk id="3" creationId="{54378A4D-FE72-4B28-9208-0B0CF3A210EA}"/>
          </ac:spMkLst>
        </pc:spChg>
        <pc:spChg chg="mod">
          <ac:chgData name="Poyrekar, Nikita" userId="81b7bcf0-b252-48e8-8b8e-b08ae8900a92" providerId="ADAL" clId="{CA4905BA-685C-485B-86B6-157A08AF9634}" dt="2023-04-18T07:10:44.884" v="75" actId="1076"/>
          <ac:spMkLst>
            <pc:docMk/>
            <pc:sldMk cId="2678710148" sldId="693"/>
            <ac:spMk id="12" creationId="{00000000-0000-0000-0000-000000000000}"/>
          </ac:spMkLst>
        </pc:spChg>
        <pc:spChg chg="mod">
          <ac:chgData name="Poyrekar, Nikita" userId="81b7bcf0-b252-48e8-8b8e-b08ae8900a92" providerId="ADAL" clId="{CA4905BA-685C-485B-86B6-157A08AF9634}" dt="2023-04-18T07:06:14.865" v="0" actId="20577"/>
          <ac:spMkLst>
            <pc:docMk/>
            <pc:sldMk cId="2678710148" sldId="693"/>
            <ac:spMk id="16" creationId="{00000000-0000-0000-0000-000000000000}"/>
          </ac:spMkLst>
        </pc:spChg>
        <pc:picChg chg="add mod modCrop">
          <ac:chgData name="Poyrekar, Nikita" userId="81b7bcf0-b252-48e8-8b8e-b08ae8900a92" providerId="ADAL" clId="{CA4905BA-685C-485B-86B6-157A08AF9634}" dt="2023-04-18T07:09:19.373" v="74" actId="14100"/>
          <ac:picMkLst>
            <pc:docMk/>
            <pc:sldMk cId="2678710148" sldId="693"/>
            <ac:picMk id="6" creationId="{67B3EB1F-2821-412E-88DA-0648A3498C0B}"/>
          </ac:picMkLst>
        </pc:picChg>
        <pc:picChg chg="del">
          <ac:chgData name="Poyrekar, Nikita" userId="81b7bcf0-b252-48e8-8b8e-b08ae8900a92" providerId="ADAL" clId="{CA4905BA-685C-485B-86B6-157A08AF9634}" dt="2023-04-18T07:08:16.619" v="1" actId="478"/>
          <ac:picMkLst>
            <pc:docMk/>
            <pc:sldMk cId="2678710148" sldId="693"/>
            <ac:picMk id="7" creationId="{35B07E6F-2E6A-4E1C-B6B2-652F56E5B9B6}"/>
          </ac:picMkLst>
        </pc:picChg>
      </pc:sldChg>
    </pc:docChg>
  </pc:docChgLst>
  <pc:docChgLst>
    <pc:chgData name="Poyrekar, Nikita" userId="81b7bcf0-b252-48e8-8b8e-b08ae8900a92" providerId="ADAL" clId="{811F5F60-36F3-49FD-AFD1-C2D4181F54F0}"/>
    <pc:docChg chg="undo redo custSel modSld">
      <pc:chgData name="Poyrekar, Nikita" userId="81b7bcf0-b252-48e8-8b8e-b08ae8900a92" providerId="ADAL" clId="{811F5F60-36F3-49FD-AFD1-C2D4181F54F0}" dt="2022-12-18T07:37:01.160" v="2155" actId="207"/>
      <pc:docMkLst>
        <pc:docMk/>
      </pc:docMkLst>
      <pc:sldChg chg="addSp delSp modSp mod modTransition">
        <pc:chgData name="Poyrekar, Nikita" userId="81b7bcf0-b252-48e8-8b8e-b08ae8900a92" providerId="ADAL" clId="{811F5F60-36F3-49FD-AFD1-C2D4181F54F0}" dt="2022-12-18T07:37:01.160" v="2155" actId="207"/>
        <pc:sldMkLst>
          <pc:docMk/>
          <pc:sldMk cId="2678710148" sldId="693"/>
        </pc:sldMkLst>
        <pc:spChg chg="add del">
          <ac:chgData name="Poyrekar, Nikita" userId="81b7bcf0-b252-48e8-8b8e-b08ae8900a92" providerId="ADAL" clId="{811F5F60-36F3-49FD-AFD1-C2D4181F54F0}" dt="2022-12-18T07:33:50.582" v="2064" actId="478"/>
          <ac:spMkLst>
            <pc:docMk/>
            <pc:sldMk cId="2678710148" sldId="693"/>
            <ac:spMk id="2" creationId="{19BDAF84-9D28-47A6-9A5B-1550A4EDF0DC}"/>
          </ac:spMkLst>
        </pc:spChg>
        <pc:spChg chg="del mod">
          <ac:chgData name="Poyrekar, Nikita" userId="81b7bcf0-b252-48e8-8b8e-b08ae8900a92" providerId="ADAL" clId="{811F5F60-36F3-49FD-AFD1-C2D4181F54F0}" dt="2022-12-18T07:25:15.087" v="1661" actId="478"/>
          <ac:spMkLst>
            <pc:docMk/>
            <pc:sldMk cId="2678710148" sldId="693"/>
            <ac:spMk id="4" creationId="{00000000-0000-0000-0000-000000000000}"/>
          </ac:spMkLst>
        </pc:spChg>
        <pc:spChg chg="mod ord">
          <ac:chgData name="Poyrekar, Nikita" userId="81b7bcf0-b252-48e8-8b8e-b08ae8900a92" providerId="ADAL" clId="{811F5F60-36F3-49FD-AFD1-C2D4181F54F0}" dt="2022-12-18T07:37:01.160" v="2155" actId="207"/>
          <ac:spMkLst>
            <pc:docMk/>
            <pc:sldMk cId="2678710148" sldId="693"/>
            <ac:spMk id="12" creationId="{00000000-0000-0000-0000-000000000000}"/>
          </ac:spMkLst>
        </pc:spChg>
        <pc:spChg chg="mod">
          <ac:chgData name="Poyrekar, Nikita" userId="81b7bcf0-b252-48e8-8b8e-b08ae8900a92" providerId="ADAL" clId="{811F5F60-36F3-49FD-AFD1-C2D4181F54F0}" dt="2022-12-18T07:34:02.886" v="2065" actId="1076"/>
          <ac:spMkLst>
            <pc:docMk/>
            <pc:sldMk cId="2678710148" sldId="693"/>
            <ac:spMk id="14" creationId="{00000000-0000-0000-0000-000000000000}"/>
          </ac:spMkLst>
        </pc:spChg>
        <pc:spChg chg="mod">
          <ac:chgData name="Poyrekar, Nikita" userId="81b7bcf0-b252-48e8-8b8e-b08ae8900a92" providerId="ADAL" clId="{811F5F60-36F3-49FD-AFD1-C2D4181F54F0}" dt="2022-12-18T07:03:28.172" v="1626" actId="1076"/>
          <ac:spMkLst>
            <pc:docMk/>
            <pc:sldMk cId="2678710148" sldId="693"/>
            <ac:spMk id="15" creationId="{00000000-0000-0000-0000-000000000000}"/>
          </ac:spMkLst>
        </pc:spChg>
        <pc:spChg chg="mod">
          <ac:chgData name="Poyrekar, Nikita" userId="81b7bcf0-b252-48e8-8b8e-b08ae8900a92" providerId="ADAL" clId="{811F5F60-36F3-49FD-AFD1-C2D4181F54F0}" dt="2022-12-18T07:35:50.397" v="2139" actId="14100"/>
          <ac:spMkLst>
            <pc:docMk/>
            <pc:sldMk cId="2678710148" sldId="693"/>
            <ac:spMk id="16" creationId="{00000000-0000-0000-0000-000000000000}"/>
          </ac:spMkLst>
        </pc:spChg>
        <pc:spChg chg="mod">
          <ac:chgData name="Poyrekar, Nikita" userId="81b7bcf0-b252-48e8-8b8e-b08ae8900a92" providerId="ADAL" clId="{811F5F60-36F3-49FD-AFD1-C2D4181F54F0}" dt="2022-12-18T07:33:38.537" v="2063" actId="207"/>
          <ac:spMkLst>
            <pc:docMk/>
            <pc:sldMk cId="2678710148" sldId="693"/>
            <ac:spMk id="17" creationId="{00000000-0000-0000-0000-000000000000}"/>
          </ac:spMkLst>
        </pc:spChg>
        <pc:spChg chg="mod">
          <ac:chgData name="Poyrekar, Nikita" userId="81b7bcf0-b252-48e8-8b8e-b08ae8900a92" providerId="ADAL" clId="{811F5F60-36F3-49FD-AFD1-C2D4181F54F0}" dt="2022-12-18T07:29:44.640" v="2057" actId="962"/>
          <ac:spMkLst>
            <pc:docMk/>
            <pc:sldMk cId="2678710148" sldId="693"/>
            <ac:spMk id="18" creationId="{00000000-0000-0000-0000-000000000000}"/>
          </ac:spMkLst>
        </pc:spChg>
        <pc:spChg chg="del mod">
          <ac:chgData name="Poyrekar, Nikita" userId="81b7bcf0-b252-48e8-8b8e-b08ae8900a92" providerId="ADAL" clId="{811F5F60-36F3-49FD-AFD1-C2D4181F54F0}" dt="2022-12-18T06:46:30.501" v="1217" actId="478"/>
          <ac:spMkLst>
            <pc:docMk/>
            <pc:sldMk cId="2678710148" sldId="693"/>
            <ac:spMk id="19" creationId="{842D9BA8-19C9-43FE-A664-761CAEC3AB0C}"/>
          </ac:spMkLst>
        </pc:spChg>
        <pc:spChg chg="mod ord">
          <ac:chgData name="Poyrekar, Nikita" userId="81b7bcf0-b252-48e8-8b8e-b08ae8900a92" providerId="ADAL" clId="{811F5F60-36F3-49FD-AFD1-C2D4181F54F0}" dt="2022-12-18T07:33:27.778" v="2061" actId="207"/>
          <ac:spMkLst>
            <pc:docMk/>
            <pc:sldMk cId="2678710148" sldId="693"/>
            <ac:spMk id="20" creationId="{DE521BAC-1841-4C04-8B3B-7E19F9B4CDB7}"/>
          </ac:spMkLst>
        </pc:spChg>
        <pc:spChg chg="mod ord">
          <ac:chgData name="Poyrekar, Nikita" userId="81b7bcf0-b252-48e8-8b8e-b08ae8900a92" providerId="ADAL" clId="{811F5F60-36F3-49FD-AFD1-C2D4181F54F0}" dt="2022-12-18T07:35:11.566" v="2138" actId="962"/>
          <ac:spMkLst>
            <pc:docMk/>
            <pc:sldMk cId="2678710148" sldId="693"/>
            <ac:spMk id="21" creationId="{00000000-0000-0000-0000-000000000000}"/>
          </ac:spMkLst>
        </pc:spChg>
        <pc:spChg chg="mod ord">
          <ac:chgData name="Poyrekar, Nikita" userId="81b7bcf0-b252-48e8-8b8e-b08ae8900a92" providerId="ADAL" clId="{811F5F60-36F3-49FD-AFD1-C2D4181F54F0}" dt="2022-12-18T07:33:21.942" v="2060" actId="207"/>
          <ac:spMkLst>
            <pc:docMk/>
            <pc:sldMk cId="2678710148" sldId="693"/>
            <ac:spMk id="22" creationId="{00000000-0000-0000-0000-000000000000}"/>
          </ac:spMkLst>
        </pc:spChg>
        <pc:spChg chg="mod ord">
          <ac:chgData name="Poyrekar, Nikita" userId="81b7bcf0-b252-48e8-8b8e-b08ae8900a92" providerId="ADAL" clId="{811F5F60-36F3-49FD-AFD1-C2D4181F54F0}" dt="2022-12-18T07:28:14.279" v="1795" actId="13244"/>
          <ac:spMkLst>
            <pc:docMk/>
            <pc:sldMk cId="2678710148" sldId="693"/>
            <ac:spMk id="23" creationId="{08096783-34E3-4E02-BA98-B7B2C5196BA0}"/>
          </ac:spMkLst>
        </pc:spChg>
        <pc:spChg chg="mod ord">
          <ac:chgData name="Poyrekar, Nikita" userId="81b7bcf0-b252-48e8-8b8e-b08ae8900a92" providerId="ADAL" clId="{811F5F60-36F3-49FD-AFD1-C2D4181F54F0}" dt="2022-12-18T07:27:48.734" v="1792" actId="13244"/>
          <ac:spMkLst>
            <pc:docMk/>
            <pc:sldMk cId="2678710148" sldId="693"/>
            <ac:spMk id="24" creationId="{F39E461E-E2E9-42E7-8E0E-712DB5335C27}"/>
          </ac:spMkLst>
        </pc:spChg>
        <pc:spChg chg="add del mod">
          <ac:chgData name="Poyrekar, Nikita" userId="81b7bcf0-b252-48e8-8b8e-b08ae8900a92" providerId="ADAL" clId="{811F5F60-36F3-49FD-AFD1-C2D4181F54F0}" dt="2022-12-18T06:49:32.153" v="1295" actId="478"/>
          <ac:spMkLst>
            <pc:docMk/>
            <pc:sldMk cId="2678710148" sldId="693"/>
            <ac:spMk id="25" creationId="{8CE8B138-4053-44B8-AE3A-05BB341548CE}"/>
          </ac:spMkLst>
        </pc:spChg>
        <pc:spChg chg="add del mod">
          <ac:chgData name="Poyrekar, Nikita" userId="81b7bcf0-b252-48e8-8b8e-b08ae8900a92" providerId="ADAL" clId="{811F5F60-36F3-49FD-AFD1-C2D4181F54F0}" dt="2022-12-18T06:49:30.609" v="1294" actId="478"/>
          <ac:spMkLst>
            <pc:docMk/>
            <pc:sldMk cId="2678710148" sldId="693"/>
            <ac:spMk id="26" creationId="{870FA8E4-0D09-495F-86A5-810D68397846}"/>
          </ac:spMkLst>
        </pc:spChg>
        <pc:spChg chg="add mod ord">
          <ac:chgData name="Poyrekar, Nikita" userId="81b7bcf0-b252-48e8-8b8e-b08ae8900a92" providerId="ADAL" clId="{811F5F60-36F3-49FD-AFD1-C2D4181F54F0}" dt="2022-12-18T07:27:41.631" v="1791" actId="13244"/>
          <ac:spMkLst>
            <pc:docMk/>
            <pc:sldMk cId="2678710148" sldId="693"/>
            <ac:spMk id="28" creationId="{8C622EED-B644-481D-8267-6144F79A0584}"/>
          </ac:spMkLst>
        </pc:spChg>
        <pc:picChg chg="mod ord">
          <ac:chgData name="Poyrekar, Nikita" userId="81b7bcf0-b252-48e8-8b8e-b08ae8900a92" providerId="ADAL" clId="{811F5F60-36F3-49FD-AFD1-C2D4181F54F0}" dt="2022-12-18T07:28:39.159" v="1797" actId="962"/>
          <ac:picMkLst>
            <pc:docMk/>
            <pc:sldMk cId="2678710148" sldId="693"/>
            <ac:picMk id="5" creationId="{DE76CACD-52CD-4454-AAE1-B4A1C7597BD3}"/>
          </ac:picMkLst>
        </pc:picChg>
        <pc:picChg chg="mod ord">
          <ac:chgData name="Poyrekar, Nikita" userId="81b7bcf0-b252-48e8-8b8e-b08ae8900a92" providerId="ADAL" clId="{811F5F60-36F3-49FD-AFD1-C2D4181F54F0}" dt="2022-12-18T07:28:08.956" v="1794" actId="13244"/>
          <ac:picMkLst>
            <pc:docMk/>
            <pc:sldMk cId="2678710148" sldId="693"/>
            <ac:picMk id="7" creationId="{35B07E6F-2E6A-4E1C-B6B2-652F56E5B9B6}"/>
          </ac:picMkLst>
        </pc:picChg>
        <pc:picChg chg="add del mod">
          <ac:chgData name="Poyrekar, Nikita" userId="81b7bcf0-b252-48e8-8b8e-b08ae8900a92" providerId="ADAL" clId="{811F5F60-36F3-49FD-AFD1-C2D4181F54F0}" dt="2022-12-18T06:49:27.062" v="1293" actId="478"/>
          <ac:picMkLst>
            <pc:docMk/>
            <pc:sldMk cId="2678710148" sldId="693"/>
            <ac:picMk id="27" creationId="{1F247AD9-DF04-4B34-BCF5-7B5B60243309}"/>
          </ac:picMkLst>
        </pc:picChg>
      </pc:sldChg>
    </pc:docChg>
  </pc:docChgLst>
  <pc:docChgLst>
    <pc:chgData name="Poyrekar, Nikita" userId="81b7bcf0-b252-48e8-8b8e-b08ae8900a92" providerId="ADAL" clId="{88332AA9-C8C3-4F42-BF74-2A5B661B2A53}"/>
    <pc:docChg chg="undo custSel modSld modMainMaster">
      <pc:chgData name="Poyrekar, Nikita" userId="81b7bcf0-b252-48e8-8b8e-b08ae8900a92" providerId="ADAL" clId="{88332AA9-C8C3-4F42-BF74-2A5B661B2A53}" dt="2022-10-25T11:00:07.123" v="1051" actId="20577"/>
      <pc:docMkLst>
        <pc:docMk/>
      </pc:docMkLst>
      <pc:sldChg chg="addSp delSp modSp mod modTransition">
        <pc:chgData name="Poyrekar, Nikita" userId="81b7bcf0-b252-48e8-8b8e-b08ae8900a92" providerId="ADAL" clId="{88332AA9-C8C3-4F42-BF74-2A5B661B2A53}" dt="2022-10-25T11:00:07.123" v="1051" actId="20577"/>
        <pc:sldMkLst>
          <pc:docMk/>
          <pc:sldMk cId="2678710148" sldId="693"/>
        </pc:sldMkLst>
        <pc:spChg chg="del mod">
          <ac:chgData name="Poyrekar, Nikita" userId="81b7bcf0-b252-48e8-8b8e-b08ae8900a92" providerId="ADAL" clId="{88332AA9-C8C3-4F42-BF74-2A5B661B2A53}" dt="2022-10-25T05:37:55.161" v="473" actId="478"/>
          <ac:spMkLst>
            <pc:docMk/>
            <pc:sldMk cId="2678710148" sldId="693"/>
            <ac:spMk id="2" creationId="{00000000-0000-0000-0000-000000000000}"/>
          </ac:spMkLst>
        </pc:spChg>
        <pc:spChg chg="mod">
          <ac:chgData name="Poyrekar, Nikita" userId="81b7bcf0-b252-48e8-8b8e-b08ae8900a92" providerId="ADAL" clId="{88332AA9-C8C3-4F42-BF74-2A5B661B2A53}" dt="2022-10-25T10:52:49.280" v="949" actId="122"/>
          <ac:spMkLst>
            <pc:docMk/>
            <pc:sldMk cId="2678710148" sldId="693"/>
            <ac:spMk id="12" creationId="{00000000-0000-0000-0000-000000000000}"/>
          </ac:spMkLst>
        </pc:spChg>
        <pc:spChg chg="mod">
          <ac:chgData name="Poyrekar, Nikita" userId="81b7bcf0-b252-48e8-8b8e-b08ae8900a92" providerId="ADAL" clId="{88332AA9-C8C3-4F42-BF74-2A5B661B2A53}" dt="2022-10-25T10:52:20.547" v="929" actId="1035"/>
          <ac:spMkLst>
            <pc:docMk/>
            <pc:sldMk cId="2678710148" sldId="693"/>
            <ac:spMk id="14" creationId="{00000000-0000-0000-0000-000000000000}"/>
          </ac:spMkLst>
        </pc:spChg>
        <pc:spChg chg="mod">
          <ac:chgData name="Poyrekar, Nikita" userId="81b7bcf0-b252-48e8-8b8e-b08ae8900a92" providerId="ADAL" clId="{88332AA9-C8C3-4F42-BF74-2A5B661B2A53}" dt="2022-10-25T10:53:39.905" v="959" actId="113"/>
          <ac:spMkLst>
            <pc:docMk/>
            <pc:sldMk cId="2678710148" sldId="693"/>
            <ac:spMk id="15" creationId="{00000000-0000-0000-0000-000000000000}"/>
          </ac:spMkLst>
        </pc:spChg>
        <pc:spChg chg="mod">
          <ac:chgData name="Poyrekar, Nikita" userId="81b7bcf0-b252-48e8-8b8e-b08ae8900a92" providerId="ADAL" clId="{88332AA9-C8C3-4F42-BF74-2A5B661B2A53}" dt="2022-10-25T10:58:41.891" v="1020" actId="1035"/>
          <ac:spMkLst>
            <pc:docMk/>
            <pc:sldMk cId="2678710148" sldId="693"/>
            <ac:spMk id="16" creationId="{00000000-0000-0000-0000-000000000000}"/>
          </ac:spMkLst>
        </pc:spChg>
        <pc:spChg chg="mod">
          <ac:chgData name="Poyrekar, Nikita" userId="81b7bcf0-b252-48e8-8b8e-b08ae8900a92" providerId="ADAL" clId="{88332AA9-C8C3-4F42-BF74-2A5B661B2A53}" dt="2022-10-25T10:58:32.546" v="1004" actId="1036"/>
          <ac:spMkLst>
            <pc:docMk/>
            <pc:sldMk cId="2678710148" sldId="693"/>
            <ac:spMk id="17" creationId="{00000000-0000-0000-0000-000000000000}"/>
          </ac:spMkLst>
        </pc:spChg>
        <pc:spChg chg="mod">
          <ac:chgData name="Poyrekar, Nikita" userId="81b7bcf0-b252-48e8-8b8e-b08ae8900a92" providerId="ADAL" clId="{88332AA9-C8C3-4F42-BF74-2A5B661B2A53}" dt="2022-10-25T10:58:28.288" v="993" actId="1036"/>
          <ac:spMkLst>
            <pc:docMk/>
            <pc:sldMk cId="2678710148" sldId="693"/>
            <ac:spMk id="18" creationId="{00000000-0000-0000-0000-000000000000}"/>
          </ac:spMkLst>
        </pc:spChg>
        <pc:spChg chg="add mod">
          <ac:chgData name="Poyrekar, Nikita" userId="81b7bcf0-b252-48e8-8b8e-b08ae8900a92" providerId="ADAL" clId="{88332AA9-C8C3-4F42-BF74-2A5B661B2A53}" dt="2022-10-25T10:51:37.185" v="847" actId="1036"/>
          <ac:spMkLst>
            <pc:docMk/>
            <pc:sldMk cId="2678710148" sldId="693"/>
            <ac:spMk id="20" creationId="{DE521BAC-1841-4C04-8B3B-7E19F9B4CDB7}"/>
          </ac:spMkLst>
        </pc:spChg>
        <pc:spChg chg="mod">
          <ac:chgData name="Poyrekar, Nikita" userId="81b7bcf0-b252-48e8-8b8e-b08ae8900a92" providerId="ADAL" clId="{88332AA9-C8C3-4F42-BF74-2A5B661B2A53}" dt="2022-10-25T10:58:53.989" v="1031" actId="1036"/>
          <ac:spMkLst>
            <pc:docMk/>
            <pc:sldMk cId="2678710148" sldId="693"/>
            <ac:spMk id="21" creationId="{00000000-0000-0000-0000-000000000000}"/>
          </ac:spMkLst>
        </pc:spChg>
        <pc:spChg chg="mod">
          <ac:chgData name="Poyrekar, Nikita" userId="81b7bcf0-b252-48e8-8b8e-b08ae8900a92" providerId="ADAL" clId="{88332AA9-C8C3-4F42-BF74-2A5B661B2A53}" dt="2022-10-25T10:51:56.710" v="885" actId="1035"/>
          <ac:spMkLst>
            <pc:docMk/>
            <pc:sldMk cId="2678710148" sldId="693"/>
            <ac:spMk id="22" creationId="{00000000-0000-0000-0000-000000000000}"/>
          </ac:spMkLst>
        </pc:spChg>
        <pc:spChg chg="add mod">
          <ac:chgData name="Poyrekar, Nikita" userId="81b7bcf0-b252-48e8-8b8e-b08ae8900a92" providerId="ADAL" clId="{88332AA9-C8C3-4F42-BF74-2A5B661B2A53}" dt="2022-10-25T10:53:06.005" v="951" actId="122"/>
          <ac:spMkLst>
            <pc:docMk/>
            <pc:sldMk cId="2678710148" sldId="693"/>
            <ac:spMk id="23" creationId="{08096783-34E3-4E02-BA98-B7B2C5196BA0}"/>
          </ac:spMkLst>
        </pc:spChg>
        <pc:spChg chg="add mod">
          <ac:chgData name="Poyrekar, Nikita" userId="81b7bcf0-b252-48e8-8b8e-b08ae8900a92" providerId="ADAL" clId="{88332AA9-C8C3-4F42-BF74-2A5B661B2A53}" dt="2022-10-25T10:53:20.750" v="954" actId="120"/>
          <ac:spMkLst>
            <pc:docMk/>
            <pc:sldMk cId="2678710148" sldId="693"/>
            <ac:spMk id="24" creationId="{F39E461E-E2E9-42E7-8E0E-712DB5335C27}"/>
          </ac:spMkLst>
        </pc:spChg>
        <pc:spChg chg="mod">
          <ac:chgData name="Poyrekar, Nikita" userId="81b7bcf0-b252-48e8-8b8e-b08ae8900a92" providerId="ADAL" clId="{88332AA9-C8C3-4F42-BF74-2A5B661B2A53}" dt="2022-10-25T11:00:07.123" v="1051" actId="20577"/>
          <ac:spMkLst>
            <pc:docMk/>
            <pc:sldMk cId="2678710148" sldId="693"/>
            <ac:spMk id="57" creationId="{00000000-0000-0000-0000-000000000000}"/>
          </ac:spMkLst>
        </pc:spChg>
        <pc:picChg chg="add mod">
          <ac:chgData name="Poyrekar, Nikita" userId="81b7bcf0-b252-48e8-8b8e-b08ae8900a92" providerId="ADAL" clId="{88332AA9-C8C3-4F42-BF74-2A5B661B2A53}" dt="2022-10-25T10:51:41.148" v="863" actId="1036"/>
          <ac:picMkLst>
            <pc:docMk/>
            <pc:sldMk cId="2678710148" sldId="693"/>
            <ac:picMk id="5" creationId="{DE76CACD-52CD-4454-AAE1-B4A1C7597BD3}"/>
          </ac:picMkLst>
        </pc:picChg>
        <pc:picChg chg="mod">
          <ac:chgData name="Poyrekar, Nikita" userId="81b7bcf0-b252-48e8-8b8e-b08ae8900a92" providerId="ADAL" clId="{88332AA9-C8C3-4F42-BF74-2A5B661B2A53}" dt="2022-10-25T10:51:17.468" v="813" actId="1076"/>
          <ac:picMkLst>
            <pc:docMk/>
            <pc:sldMk cId="2678710148" sldId="693"/>
            <ac:picMk id="7" creationId="{35B07E6F-2E6A-4E1C-B6B2-652F56E5B9B6}"/>
          </ac:picMkLst>
        </pc:picChg>
        <pc:picChg chg="add del mod">
          <ac:chgData name="Poyrekar, Nikita" userId="81b7bcf0-b252-48e8-8b8e-b08ae8900a92" providerId="ADAL" clId="{88332AA9-C8C3-4F42-BF74-2A5B661B2A53}" dt="2022-10-25T05:39:14.645" v="488"/>
          <ac:picMkLst>
            <pc:docMk/>
            <pc:sldMk cId="2678710148" sldId="693"/>
            <ac:picMk id="8" creationId="{3CE263C8-F917-4499-9471-229DD4DC1EBB}"/>
          </ac:picMkLst>
        </pc:picChg>
      </pc:sldChg>
      <pc:sldMasterChg chg="addSp">
        <pc:chgData name="Poyrekar, Nikita" userId="81b7bcf0-b252-48e8-8b8e-b08ae8900a92" providerId="ADAL" clId="{88332AA9-C8C3-4F42-BF74-2A5B661B2A53}" dt="2022-10-19T14:29:32.651" v="266"/>
        <pc:sldMasterMkLst>
          <pc:docMk/>
          <pc:sldMasterMk cId="3787865956" sldId="2147483756"/>
        </pc:sldMasterMkLst>
        <pc:spChg chg="add">
          <ac:chgData name="Poyrekar, Nikita" userId="81b7bcf0-b252-48e8-8b8e-b08ae8900a92" providerId="ADAL" clId="{88332AA9-C8C3-4F42-BF74-2A5B661B2A53}" dt="2022-10-19T14:29:32.651" v="266"/>
          <ac:spMkLst>
            <pc:docMk/>
            <pc:sldMasterMk cId="3787865956" sldId="2147483756"/>
            <ac:spMk id="8" creationId="{42C5EF5C-F36A-4CDD-823E-2F62E4D95009}"/>
          </ac:spMkLst>
        </pc:spChg>
        <pc:spChg chg="add">
          <ac:chgData name="Poyrekar, Nikita" userId="81b7bcf0-b252-48e8-8b8e-b08ae8900a92" providerId="ADAL" clId="{88332AA9-C8C3-4F42-BF74-2A5B661B2A53}" dt="2022-10-19T14:29:32.651" v="266"/>
          <ac:spMkLst>
            <pc:docMk/>
            <pc:sldMasterMk cId="3787865956" sldId="2147483756"/>
            <ac:spMk id="9" creationId="{10DAD578-2648-4D54-88F8-AC73127E42B6}"/>
          </ac:spMkLst>
        </pc:spChg>
      </pc:sldMasterChg>
    </pc:docChg>
  </pc:docChgLst>
  <pc:docChgLst>
    <pc:chgData name="Poyrekar, Nikita" userId="81b7bcf0-b252-48e8-8b8e-b08ae8900a92" providerId="ADAL" clId="{0C040029-E90A-47AA-A7B0-C075E074534A}"/>
    <pc:docChg chg="modSld">
      <pc:chgData name="Poyrekar, Nikita" userId="81b7bcf0-b252-48e8-8b8e-b08ae8900a92" providerId="ADAL" clId="{0C040029-E90A-47AA-A7B0-C075E074534A}" dt="2022-05-09T05:38:25.383" v="244" actId="20577"/>
      <pc:docMkLst>
        <pc:docMk/>
      </pc:docMkLst>
      <pc:sldChg chg="modSp mod">
        <pc:chgData name="Poyrekar, Nikita" userId="81b7bcf0-b252-48e8-8b8e-b08ae8900a92" providerId="ADAL" clId="{0C040029-E90A-47AA-A7B0-C075E074534A}" dt="2022-05-09T05:38:25.383" v="244" actId="20577"/>
        <pc:sldMkLst>
          <pc:docMk/>
          <pc:sldMk cId="2678710148" sldId="693"/>
        </pc:sldMkLst>
        <pc:spChg chg="mod">
          <ac:chgData name="Poyrekar, Nikita" userId="81b7bcf0-b252-48e8-8b8e-b08ae8900a92" providerId="ADAL" clId="{0C040029-E90A-47AA-A7B0-C075E074534A}" dt="2022-05-09T05:38:25.383" v="244" actId="20577"/>
          <ac:spMkLst>
            <pc:docMk/>
            <pc:sldMk cId="2678710148" sldId="693"/>
            <ac:spMk id="2" creationId="{00000000-0000-0000-0000-000000000000}"/>
          </ac:spMkLst>
        </pc:spChg>
        <pc:spChg chg="mod">
          <ac:chgData name="Poyrekar, Nikita" userId="81b7bcf0-b252-48e8-8b8e-b08ae8900a92" providerId="ADAL" clId="{0C040029-E90A-47AA-A7B0-C075E074534A}" dt="2022-05-09T05:38:07.291" v="241" actId="20577"/>
          <ac:spMkLst>
            <pc:docMk/>
            <pc:sldMk cId="2678710148" sldId="693"/>
            <ac:spMk id="15" creationId="{00000000-0000-0000-0000-000000000000}"/>
          </ac:spMkLst>
        </pc:spChg>
        <pc:spChg chg="mod">
          <ac:chgData name="Poyrekar, Nikita" userId="81b7bcf0-b252-48e8-8b8e-b08ae8900a92" providerId="ADAL" clId="{0C040029-E90A-47AA-A7B0-C075E074534A}" dt="2022-05-09T05:33:46.229" v="192" actId="20577"/>
          <ac:spMkLst>
            <pc:docMk/>
            <pc:sldMk cId="2678710148" sldId="693"/>
            <ac:spMk id="16" creationId="{00000000-0000-0000-0000-000000000000}"/>
          </ac:spMkLst>
        </pc:spChg>
        <pc:spChg chg="mod">
          <ac:chgData name="Poyrekar, Nikita" userId="81b7bcf0-b252-48e8-8b8e-b08ae8900a92" providerId="ADAL" clId="{0C040029-E90A-47AA-A7B0-C075E074534A}" dt="2022-05-09T05:35:37.684" v="236" actId="20577"/>
          <ac:spMkLst>
            <pc:docMk/>
            <pc:sldMk cId="2678710148" sldId="693"/>
            <ac:spMk id="18" creationId="{00000000-0000-0000-0000-000000000000}"/>
          </ac:spMkLst>
        </pc:spChg>
      </pc:sldChg>
    </pc:docChg>
  </pc:docChgLst>
  <pc:docChgLst>
    <pc:chgData name="Poyrekar, Nikita" userId="81b7bcf0-b252-48e8-8b8e-b08ae8900a92" providerId="ADAL" clId="{E4D5CF6B-2C5C-43F0-B4AB-E88E5F109317}"/>
    <pc:docChg chg="custSel modSld">
      <pc:chgData name="Poyrekar, Nikita" userId="81b7bcf0-b252-48e8-8b8e-b08ae8900a92" providerId="ADAL" clId="{E4D5CF6B-2C5C-43F0-B4AB-E88E5F109317}" dt="2022-07-24T06:05:15.620" v="152" actId="20577"/>
      <pc:docMkLst>
        <pc:docMk/>
      </pc:docMkLst>
      <pc:sldChg chg="modSp mod">
        <pc:chgData name="Poyrekar, Nikita" userId="81b7bcf0-b252-48e8-8b8e-b08ae8900a92" providerId="ADAL" clId="{E4D5CF6B-2C5C-43F0-B4AB-E88E5F109317}" dt="2022-07-24T06:05:15.620" v="152" actId="20577"/>
        <pc:sldMkLst>
          <pc:docMk/>
          <pc:sldMk cId="2678710148" sldId="693"/>
        </pc:sldMkLst>
        <pc:spChg chg="mod">
          <ac:chgData name="Poyrekar, Nikita" userId="81b7bcf0-b252-48e8-8b8e-b08ae8900a92" providerId="ADAL" clId="{E4D5CF6B-2C5C-43F0-B4AB-E88E5F109317}" dt="2022-07-24T06:05:15.620" v="152" actId="20577"/>
          <ac:spMkLst>
            <pc:docMk/>
            <pc:sldMk cId="2678710148" sldId="693"/>
            <ac:spMk id="2" creationId="{00000000-0000-0000-0000-000000000000}"/>
          </ac:spMkLst>
        </pc:spChg>
        <pc:spChg chg="mod">
          <ac:chgData name="Poyrekar, Nikita" userId="81b7bcf0-b252-48e8-8b8e-b08ae8900a92" providerId="ADAL" clId="{E4D5CF6B-2C5C-43F0-B4AB-E88E5F109317}" dt="2022-07-24T06:03:12.754" v="116" actId="14100"/>
          <ac:spMkLst>
            <pc:docMk/>
            <pc:sldMk cId="2678710148" sldId="693"/>
            <ac:spMk id="15" creationId="{00000000-0000-0000-0000-000000000000}"/>
          </ac:spMkLst>
        </pc:spChg>
        <pc:spChg chg="mod">
          <ac:chgData name="Poyrekar, Nikita" userId="81b7bcf0-b252-48e8-8b8e-b08ae8900a92" providerId="ADAL" clId="{E4D5CF6B-2C5C-43F0-B4AB-E88E5F109317}" dt="2022-07-24T06:02:31.856" v="73" actId="14100"/>
          <ac:spMkLst>
            <pc:docMk/>
            <pc:sldMk cId="2678710148" sldId="693"/>
            <ac:spMk id="16" creationId="{00000000-0000-0000-0000-000000000000}"/>
          </ac:spMkLst>
        </pc:spChg>
        <pc:spChg chg="mod">
          <ac:chgData name="Poyrekar, Nikita" userId="81b7bcf0-b252-48e8-8b8e-b08ae8900a92" providerId="ADAL" clId="{E4D5CF6B-2C5C-43F0-B4AB-E88E5F109317}" dt="2022-07-24T06:02:36.831" v="83" actId="1036"/>
          <ac:spMkLst>
            <pc:docMk/>
            <pc:sldMk cId="2678710148" sldId="693"/>
            <ac:spMk id="17" creationId="{00000000-0000-0000-0000-000000000000}"/>
          </ac:spMkLst>
        </pc:spChg>
        <pc:spChg chg="mod">
          <ac:chgData name="Poyrekar, Nikita" userId="81b7bcf0-b252-48e8-8b8e-b08ae8900a92" providerId="ADAL" clId="{E4D5CF6B-2C5C-43F0-B4AB-E88E5F109317}" dt="2022-07-24T06:02:58.170" v="103" actId="14100"/>
          <ac:spMkLst>
            <pc:docMk/>
            <pc:sldMk cId="2678710148" sldId="693"/>
            <ac:spMk id="18" creationId="{00000000-0000-0000-0000-000000000000}"/>
          </ac:spMkLst>
        </pc:spChg>
        <pc:spChg chg="mod">
          <ac:chgData name="Poyrekar, Nikita" userId="81b7bcf0-b252-48e8-8b8e-b08ae8900a92" providerId="ADAL" clId="{E4D5CF6B-2C5C-43F0-B4AB-E88E5F109317}" dt="2022-07-24T06:02:16.727" v="59" actId="1035"/>
          <ac:spMkLst>
            <pc:docMk/>
            <pc:sldMk cId="2678710148" sldId="693"/>
            <ac:spMk id="21"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5/8/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5/8/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sldNum="0"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poyrekar@deloitte.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jpg"/><Relationship Id="rId5" Type="http://schemas.openxmlformats.org/officeDocument/2006/relationships/hyperlink" Target="https://www.linkedin.com/in/nikitapoyrekar/details/certifications/" TargetMode="Externa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0717" y="160135"/>
            <a:ext cx="11609921" cy="667423"/>
          </a:xfrm>
        </p:spPr>
        <p:txBody>
          <a:bodyPr/>
          <a:lstStyle/>
          <a:p>
            <a:r>
              <a:rPr lang="en-US" sz="1800" b="1" dirty="0">
                <a:latin typeface="+mn-lt"/>
                <a:cs typeface="Calibri" panose="020F0502020204030204" pitchFamily="34" charset="0"/>
              </a:rPr>
              <a:t> Nikita Deepak Poyrekar</a:t>
            </a:r>
            <a:br>
              <a:rPr lang="en-US" sz="1800" b="1" dirty="0">
                <a:latin typeface="+mn-lt"/>
                <a:cs typeface="Calibri" panose="020F0502020204030204" pitchFamily="34" charset="0"/>
              </a:rPr>
            </a:br>
            <a:r>
              <a:rPr lang="en-US" sz="1800" b="1" dirty="0">
                <a:latin typeface="+mn-lt"/>
                <a:cs typeface="Calibri" panose="020F0502020204030204" pitchFamily="34" charset="0"/>
              </a:rPr>
              <a:t> </a:t>
            </a:r>
            <a:r>
              <a:rPr lang="en-US" sz="1400" dirty="0">
                <a:latin typeface="+mn-lt"/>
                <a:cs typeface="Calibri" panose="020F0502020204030204" pitchFamily="34" charset="0"/>
              </a:rPr>
              <a:t>Consultant, Deloitte India</a:t>
            </a:r>
            <a:endParaRPr lang="en-IN" sz="1800" b="1" i="1" dirty="0">
              <a:solidFill>
                <a:schemeClr val="accent6"/>
              </a:solidFill>
              <a:latin typeface="+mn-lt"/>
              <a:cs typeface="Calibri" panose="020F0502020204030204" pitchFamily="34" charset="0"/>
            </a:endParaRPr>
          </a:p>
        </p:txBody>
      </p:sp>
      <p:sp>
        <p:nvSpPr>
          <p:cNvPr id="12" name="Text Placeholder 1"/>
          <p:cNvSpPr txBox="1">
            <a:spLocks/>
          </p:cNvSpPr>
          <p:nvPr/>
        </p:nvSpPr>
        <p:spPr>
          <a:xfrm>
            <a:off x="276944" y="2241256"/>
            <a:ext cx="1980000" cy="58729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noProof="0" dirty="0">
                <a:solidFill>
                  <a:srgbClr val="5528FF"/>
                </a:solidFill>
                <a:cs typeface="Calibri" panose="020F0502020204030204" pitchFamily="34" charset="0"/>
                <a:hlinkClick r:id="rId3">
                  <a:extLst>
                    <a:ext uri="{A12FA001-AC4F-418D-AE19-62706E023703}">
                      <ahyp:hlinkClr xmlns:ahyp="http://schemas.microsoft.com/office/drawing/2018/hyperlinkcolor" val="tx"/>
                    </a:ext>
                  </a:extLst>
                </a:hlinkClick>
              </a:rPr>
              <a:t>npoyrekar@deloitte.com</a:t>
            </a:r>
            <a:endParaRPr lang="en-GB" sz="900" noProof="0" dirty="0">
              <a:solidFill>
                <a:srgbClr val="5528FF"/>
              </a:solidFill>
              <a:cs typeface="Calibri" panose="020F0502020204030204" pitchFamily="34" charset="0"/>
            </a:endParaRPr>
          </a:p>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dirty="0">
                <a:solidFill>
                  <a:srgbClr val="5528FF"/>
                </a:solidFill>
                <a:cs typeface="Calibri" panose="020F0502020204030204" pitchFamily="34" charset="0"/>
              </a:rPr>
              <a:t>Phone: +91 897 654 8557</a:t>
            </a:r>
          </a:p>
        </p:txBody>
      </p:sp>
      <p:sp>
        <p:nvSpPr>
          <p:cNvPr id="14" name="Rectangle 13"/>
          <p:cNvSpPr/>
          <p:nvPr/>
        </p:nvSpPr>
        <p:spPr>
          <a:xfrm>
            <a:off x="276944" y="2753053"/>
            <a:ext cx="1980000" cy="261129"/>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Qualifications</a:t>
            </a:r>
          </a:p>
        </p:txBody>
      </p:sp>
      <p:sp>
        <p:nvSpPr>
          <p:cNvPr id="15" name="Rectangle 14"/>
          <p:cNvSpPr/>
          <p:nvPr/>
        </p:nvSpPr>
        <p:spPr>
          <a:xfrm>
            <a:off x="276944" y="3083410"/>
            <a:ext cx="1980000" cy="703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MTech: Autonomous (KJSCE Mumbai)</a:t>
            </a:r>
          </a:p>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B. E: Mumbai University</a:t>
            </a:r>
          </a:p>
        </p:txBody>
      </p:sp>
      <p:sp>
        <p:nvSpPr>
          <p:cNvPr id="22" name="Rectangle 21">
            <a:extLst>
              <a:ext uri="{C183D7F6-B498-43B3-948B-1728B52AA6E4}">
                <adec:decorative xmlns:adec="http://schemas.microsoft.com/office/drawing/2017/decorative" val="0"/>
              </a:ext>
            </a:extLst>
          </p:cNvPr>
          <p:cNvSpPr/>
          <p:nvPr/>
        </p:nvSpPr>
        <p:spPr>
          <a:xfrm>
            <a:off x="276944" y="3897287"/>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Certifications</a:t>
            </a:r>
          </a:p>
        </p:txBody>
      </p:sp>
      <p:pic>
        <p:nvPicPr>
          <p:cNvPr id="5" name="Picture 4" descr="Google CDL certification badge">
            <a:extLst>
              <a:ext uri="{FF2B5EF4-FFF2-40B4-BE49-F238E27FC236}">
                <a16:creationId xmlns:a16="http://schemas.microsoft.com/office/drawing/2014/main" id="{DE76CACD-52CD-4454-AAE1-B4A1C7597BD3}"/>
              </a:ext>
            </a:extLst>
          </p:cNvPr>
          <p:cNvPicPr>
            <a:picLocks noChangeAspect="1"/>
          </p:cNvPicPr>
          <p:nvPr/>
        </p:nvPicPr>
        <p:blipFill>
          <a:blip r:embed="rId4"/>
          <a:stretch>
            <a:fillRect/>
          </a:stretch>
        </p:blipFill>
        <p:spPr>
          <a:xfrm>
            <a:off x="276944" y="4295800"/>
            <a:ext cx="731061" cy="653654"/>
          </a:xfrm>
          <a:prstGeom prst="rect">
            <a:avLst/>
          </a:prstGeom>
        </p:spPr>
      </p:pic>
      <p:sp>
        <p:nvSpPr>
          <p:cNvPr id="23" name="Rectangle 22">
            <a:extLst>
              <a:ext uri="{FF2B5EF4-FFF2-40B4-BE49-F238E27FC236}">
                <a16:creationId xmlns:a16="http://schemas.microsoft.com/office/drawing/2014/main" id="{08096783-34E3-4E02-BA98-B7B2C5196BA0}"/>
              </a:ext>
            </a:extLst>
          </p:cNvPr>
          <p:cNvSpPr/>
          <p:nvPr/>
        </p:nvSpPr>
        <p:spPr>
          <a:xfrm>
            <a:off x="1003342" y="4370971"/>
            <a:ext cx="1253602" cy="541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algn="ctr" eaLnBrk="0" hangingPunct="0">
              <a:buClr>
                <a:srgbClr val="53565A"/>
              </a:buClr>
              <a:buSzPct val="70000"/>
              <a:defRPr/>
            </a:pPr>
            <a:r>
              <a:rPr lang="en-US" sz="900" b="1" dirty="0">
                <a:solidFill>
                  <a:schemeClr val="tx1">
                    <a:lumMod val="65000"/>
                    <a:lumOff val="35000"/>
                  </a:schemeClr>
                </a:solidFill>
                <a:cs typeface="Calibri" panose="020F0502020204030204" pitchFamily="34" charset="0"/>
              </a:rPr>
              <a:t>Google Certified Cloud Digital Leader</a:t>
            </a:r>
          </a:p>
        </p:txBody>
      </p:sp>
      <p:sp>
        <p:nvSpPr>
          <p:cNvPr id="28" name="Rectangle 27">
            <a:extLst>
              <a:ext uri="{FF2B5EF4-FFF2-40B4-BE49-F238E27FC236}">
                <a16:creationId xmlns:a16="http://schemas.microsoft.com/office/drawing/2014/main" id="{8C622EED-B644-481D-8267-6144F79A0584}"/>
              </a:ext>
            </a:extLst>
          </p:cNvPr>
          <p:cNvSpPr/>
          <p:nvPr/>
        </p:nvSpPr>
        <p:spPr>
          <a:xfrm>
            <a:off x="262039" y="5030489"/>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1000" b="1" dirty="0">
                <a:solidFill>
                  <a:schemeClr val="tx1">
                    <a:lumMod val="65000"/>
                    <a:lumOff val="35000"/>
                  </a:schemeClr>
                </a:solidFill>
                <a:cs typeface="Calibri" panose="020F0502020204030204" pitchFamily="34" charset="0"/>
              </a:rPr>
              <a:t>Other Technical certifications </a:t>
            </a:r>
            <a:r>
              <a:rPr lang="en-US" sz="1000" b="1" dirty="0">
                <a:solidFill>
                  <a:schemeClr val="tx1"/>
                </a:solidFill>
                <a:cs typeface="Calibri" panose="020F0502020204030204" pitchFamily="34" charset="0"/>
              </a:rPr>
              <a:t>– </a:t>
            </a:r>
            <a:r>
              <a:rPr lang="en-US" sz="1000" dirty="0">
                <a:solidFill>
                  <a:schemeClr val="tx1"/>
                </a:solidFill>
                <a:cs typeface="Calibri" panose="020F0502020204030204" pitchFamily="34" charset="0"/>
                <a:hlinkClick r:id="rId5"/>
              </a:rPr>
              <a:t>Click here</a:t>
            </a:r>
            <a:endParaRPr lang="en-US" sz="1000" dirty="0">
              <a:solidFill>
                <a:schemeClr val="tx1"/>
              </a:solidFill>
              <a:cs typeface="Calibri" panose="020F0502020204030204" pitchFamily="34" charset="0"/>
            </a:endParaRPr>
          </a:p>
        </p:txBody>
      </p:sp>
      <p:sp>
        <p:nvSpPr>
          <p:cNvPr id="20" name="Rectangle 19">
            <a:extLst>
              <a:ext uri="{FF2B5EF4-FFF2-40B4-BE49-F238E27FC236}">
                <a16:creationId xmlns:a16="http://schemas.microsoft.com/office/drawing/2014/main" id="{DE521BAC-1841-4C04-8B3B-7E19F9B4CDB7}"/>
              </a:ext>
            </a:extLst>
          </p:cNvPr>
          <p:cNvSpPr/>
          <p:nvPr/>
        </p:nvSpPr>
        <p:spPr>
          <a:xfrm>
            <a:off x="220717" y="5572096"/>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imary skills</a:t>
            </a:r>
          </a:p>
        </p:txBody>
      </p:sp>
      <p:sp>
        <p:nvSpPr>
          <p:cNvPr id="24" name="Rectangle 23">
            <a:extLst>
              <a:ext uri="{FF2B5EF4-FFF2-40B4-BE49-F238E27FC236}">
                <a16:creationId xmlns:a16="http://schemas.microsoft.com/office/drawing/2014/main" id="{F39E461E-E2E9-42E7-8E0E-712DB5335C27}"/>
              </a:ext>
            </a:extLst>
          </p:cNvPr>
          <p:cNvSpPr/>
          <p:nvPr/>
        </p:nvSpPr>
        <p:spPr>
          <a:xfrm>
            <a:off x="220717" y="5917608"/>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900" dirty="0">
                <a:solidFill>
                  <a:schemeClr val="tx1">
                    <a:lumMod val="65000"/>
                    <a:lumOff val="35000"/>
                  </a:schemeClr>
                </a:solidFill>
                <a:cs typeface="Calibri" panose="020F0502020204030204" pitchFamily="34" charset="0"/>
              </a:rPr>
              <a:t>Front-end development – React Js, Angular and Next.js</a:t>
            </a:r>
          </a:p>
        </p:txBody>
      </p:sp>
      <p:sp>
        <p:nvSpPr>
          <p:cNvPr id="21" name="Rectangle 20" descr="Professional experience header"/>
          <p:cNvSpPr/>
          <p:nvPr/>
        </p:nvSpPr>
        <p:spPr>
          <a:xfrm>
            <a:off x="2538372" y="744273"/>
            <a:ext cx="9292266"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ofessional Experience</a:t>
            </a:r>
          </a:p>
        </p:txBody>
      </p:sp>
      <p:sp>
        <p:nvSpPr>
          <p:cNvPr id="16" name="Rectangle 15"/>
          <p:cNvSpPr/>
          <p:nvPr/>
        </p:nvSpPr>
        <p:spPr>
          <a:xfrm>
            <a:off x="2538373" y="1043645"/>
            <a:ext cx="9292265" cy="37390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3 years of experience in software development and client management roles. She has developed enterprise applications with visually responsive elements using state-of-the-art JS frameworks like Angular, React JS and Next.js. She has led the entire PED (Product, Engineering and Design) team for projects across Healthcare, Property and retail management sectors. </a:t>
            </a:r>
          </a:p>
          <a:p>
            <a:pPr algn="just">
              <a:lnSpc>
                <a:spcPct val="150000"/>
              </a:lnSpc>
            </a:pPr>
            <a:r>
              <a:rPr lang="en-US" sz="900" dirty="0">
                <a:solidFill>
                  <a:prstClr val="black"/>
                </a:solidFill>
                <a:cs typeface="Calibri" panose="020F0502020204030204" pitchFamily="34" charset="0"/>
              </a:rPr>
              <a:t>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Redux,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nd Confluence</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est libraries/frameworks: JEST, React testing library and Cypres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ask runners: Gulp4</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I/CD: Working knowledge of Jenkin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loud Fundamentals: Google Cloud Platform (GCP), CMS: Strapi</a:t>
            </a:r>
          </a:p>
          <a:p>
            <a:pPr marL="171450" indent="-171450" algn="just">
              <a:lnSpc>
                <a:spcPct val="150000"/>
              </a:lnSpc>
              <a:buFont typeface="Arial" panose="020B0604020202020204" pitchFamily="34" charset="0"/>
              <a:buChar char="•"/>
            </a:pPr>
            <a:endParaRPr lang="en-US" sz="900" dirty="0">
              <a:solidFill>
                <a:schemeClr val="tx1"/>
              </a:solidFill>
              <a:cs typeface="Calibri" panose="020F0502020204030204" pitchFamily="34" charset="0"/>
            </a:endParaRPr>
          </a:p>
        </p:txBody>
      </p:sp>
      <p:sp>
        <p:nvSpPr>
          <p:cNvPr id="17" name="Rectangle 16"/>
          <p:cNvSpPr/>
          <p:nvPr/>
        </p:nvSpPr>
        <p:spPr>
          <a:xfrm>
            <a:off x="2538372" y="4829549"/>
            <a:ext cx="9321525"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Key Engagements</a:t>
            </a:r>
          </a:p>
        </p:txBody>
      </p:sp>
      <p:sp>
        <p:nvSpPr>
          <p:cNvPr id="18" name="Rectangle 17" descr="This section talks about the key engagements of Nikita in her professional career">
            <a:extLst>
              <a:ext uri="{C183D7F6-B498-43B3-948B-1728B52AA6E4}">
                <adec:decorative xmlns:adec="http://schemas.microsoft.com/office/drawing/2017/decorative" val="0"/>
              </a:ext>
            </a:extLst>
          </p:cNvPr>
          <p:cNvSpPr/>
          <p:nvPr/>
        </p:nvSpPr>
        <p:spPr>
          <a:xfrm>
            <a:off x="2538375" y="5137351"/>
            <a:ext cx="9321522" cy="1560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Created an application that streamlines credit applications for vehicle financing on Europe's top automobile E-commerce platform. Responsibilities encompassed backlog management, process definition, development, QA, and delivery management.</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ised and constructed a digital platform to simplify landlord-tenant management functions for the leading Commercial Real Estate organization in the USA. Duties included requirements gathering, problem identification, technical specification development, and implementation. Additionally, devised an internal tool that reduced website time-to-market from 6 weeks to 1.</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Built a secure online platform for an Indian Pharma client. Responsibilities included analyzing requirements, prioritizing tasks, development, quality assurance, product demonstrations, and deployment.</a:t>
            </a:r>
          </a:p>
        </p:txBody>
      </p:sp>
      <p:pic>
        <p:nvPicPr>
          <p:cNvPr id="6" name="Content Placeholder 5" descr="Nikita Deepak Poyarekar&#10;">
            <a:extLst>
              <a:ext uri="{FF2B5EF4-FFF2-40B4-BE49-F238E27FC236}">
                <a16:creationId xmlns:a16="http://schemas.microsoft.com/office/drawing/2014/main" id="{67B3EB1F-2821-412E-88DA-0648A3498C0B}"/>
              </a:ext>
            </a:extLst>
          </p:cNvPr>
          <p:cNvPicPr>
            <a:picLocks noGrp="1" noChangeAspect="1"/>
          </p:cNvPicPr>
          <p:nvPr>
            <p:ph idx="1"/>
          </p:nvPr>
        </p:nvPicPr>
        <p:blipFill rotWithShape="1">
          <a:blip r:embed="rId6"/>
          <a:srcRect l="31647" t="29758"/>
          <a:stretch/>
        </p:blipFill>
        <p:spPr>
          <a:xfrm>
            <a:off x="727961" y="744376"/>
            <a:ext cx="1068182" cy="1463636"/>
          </a:xfrm>
        </p:spPr>
      </p:pic>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5CF092-BC1D-4376-B6C4-CFCD2F92756E}">
  <ds:schemaRefs>
    <ds:schemaRef ds:uri="http://purl.org/dc/elements/1.1/"/>
    <ds:schemaRef ds:uri="http://purl.org/dc/terms/"/>
    <ds:schemaRef ds:uri="http://schemas.microsoft.com/office/2006/documentManagement/types"/>
    <ds:schemaRef ds:uri="http://schemas.microsoft.com/office/2006/metadata/properties"/>
    <ds:schemaRef ds:uri="655bbda8-32d5-4c1a-a1fa-5cab6faa4b30"/>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3.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785</TotalTime>
  <Words>398</Words>
  <Application>Microsoft Office PowerPoint</Application>
  <PresentationFormat>Widescreen</PresentationFormat>
  <Paragraphs>32</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 Nikita Deepak Poyreka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3-05-08T12:4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